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sldIdLst>
    <p:sldId id="256" r:id="rId2"/>
    <p:sldId id="262" r:id="rId3"/>
    <p:sldId id="257" r:id="rId4"/>
    <p:sldId id="258" r:id="rId5"/>
    <p:sldId id="259" r:id="rId6"/>
    <p:sldId id="260" r:id="rId7"/>
    <p:sldId id="263" r:id="rId8"/>
    <p:sldId id="268" r:id="rId9"/>
    <p:sldId id="261" r:id="rId10"/>
    <p:sldId id="264" r:id="rId11"/>
    <p:sldId id="265" r:id="rId12"/>
    <p:sldId id="267" r:id="rId13"/>
  </p:sldIdLst>
  <p:sldSz cx="9144000" cy="6858000" type="screen4x3"/>
  <p:notesSz cx="6858000" cy="9144000"/>
  <p:defaultTextStyle>
    <a:defPPr>
      <a:defRPr lang="sr-Latn-R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D1BAD64-B8FB-4F08-95F8-188F2C7E38AF}">
          <p14:sldIdLst>
            <p14:sldId id="256"/>
            <p14:sldId id="262"/>
            <p14:sldId id="257"/>
            <p14:sldId id="258"/>
            <p14:sldId id="259"/>
            <p14:sldId id="260"/>
            <p14:sldId id="263"/>
            <p14:sldId id="268"/>
            <p14:sldId id="261"/>
            <p14:sldId id="264"/>
            <p14:sldId id="265"/>
            <p14:sldId id="26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24" d="100"/>
          <a:sy n="124" d="100"/>
        </p:scale>
        <p:origin x="1224" y="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ight Triangle 9"/>
          <p:cNvSpPr/>
          <p:nvPr/>
        </p:nvSpPr>
        <p:spPr>
          <a:xfrm>
            <a:off x="-2" y="4664147"/>
            <a:ext cx="9151089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en-US"/>
              <a:t>Click to edit Master subtitle style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-3765" y="4953000"/>
            <a:ext cx="9147765" cy="1912088"/>
            <a:chOff x="-3765" y="4832896"/>
            <a:chExt cx="9147765" cy="2032192"/>
          </a:xfrm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1687513" y="4832896"/>
              <a:ext cx="7456487" cy="51881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35443" y="5135526"/>
              <a:ext cx="9108557" cy="838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anchor="ctr" compatLnSpc="1"/>
            <a:lstStyle/>
            <a:p>
              <a:pPr algn="ctr" eaLnBrk="1" latinLnBrk="0" hangingPunct="1"/>
              <a:endParaRPr kumimoji="0" lang="en-US"/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18877800-743F-4611-972B-3D7896F1A240}" type="datetimeFigureOut">
              <a:rPr lang="sr-Latn-RS" smtClean="0"/>
              <a:t>26.9.2018.</a:t>
            </a:fld>
            <a:endParaRPr lang="sr-Latn-RS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endParaRPr lang="sr-Latn-RS"/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01AE8349-EB2E-4255-A82B-E6D018CCA536}" type="slidenum">
              <a:rPr lang="sr-Latn-RS" smtClean="0"/>
              <a:t>‹#›</a:t>
            </a:fld>
            <a:endParaRPr lang="sr-Latn-R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877800-743F-4611-972B-3D7896F1A240}" type="datetimeFigureOut">
              <a:rPr lang="sr-Latn-RS" smtClean="0"/>
              <a:t>26.9.2018.</a:t>
            </a:fld>
            <a:endParaRPr lang="sr-Latn-R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AE8349-EB2E-4255-A82B-E6D018CCA536}" type="slidenum">
              <a:rPr lang="sr-Latn-RS" smtClean="0"/>
              <a:t>‹#›</a:t>
            </a:fld>
            <a:endParaRPr lang="sr-Latn-R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877800-743F-4611-972B-3D7896F1A240}" type="datetimeFigureOut">
              <a:rPr lang="sr-Latn-RS" smtClean="0"/>
              <a:t>26.9.2018.</a:t>
            </a:fld>
            <a:endParaRPr lang="sr-Latn-R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AE8349-EB2E-4255-A82B-E6D018CCA536}" type="slidenum">
              <a:rPr lang="sr-Latn-RS" smtClean="0"/>
              <a:t>‹#›</a:t>
            </a:fld>
            <a:endParaRPr lang="sr-Latn-R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877800-743F-4611-972B-3D7896F1A240}" type="datetimeFigureOut">
              <a:rPr lang="sr-Latn-RS" smtClean="0"/>
              <a:t>26.9.2018.</a:t>
            </a:fld>
            <a:endParaRPr lang="sr-Latn-R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AE8349-EB2E-4255-A82B-E6D018CCA536}" type="slidenum">
              <a:rPr lang="sr-Latn-RS" smtClean="0"/>
              <a:t>‹#›</a:t>
            </a:fld>
            <a:endParaRPr lang="sr-Latn-R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kumimoji="0"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 lIns="91440" rIns="91440" anchor="t"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877800-743F-4611-972B-3D7896F1A240}" type="datetimeFigureOut">
              <a:rPr lang="sr-Latn-RS" smtClean="0"/>
              <a:t>26.9.2018.</a:t>
            </a:fld>
            <a:endParaRPr lang="sr-Latn-R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AE8349-EB2E-4255-A82B-E6D018CCA536}" type="slidenum">
              <a:rPr lang="sr-Latn-RS" smtClean="0"/>
              <a:t>‹#›</a:t>
            </a:fld>
            <a:endParaRPr lang="sr-Latn-RS"/>
          </a:p>
        </p:txBody>
      </p:sp>
      <p:sp>
        <p:nvSpPr>
          <p:cNvPr id="7" name="Chevron 6"/>
          <p:cNvSpPr/>
          <p:nvPr/>
        </p:nvSpPr>
        <p:spPr>
          <a:xfrm>
            <a:off x="3636680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eaLnBrk="1" latinLnBrk="0" hangingPunct="1"/>
            <a:endParaRPr kumimoji="0" lang="en-US"/>
          </a:p>
        </p:txBody>
      </p:sp>
      <p:sp>
        <p:nvSpPr>
          <p:cNvPr id="8" name="Chevron 7"/>
          <p:cNvSpPr/>
          <p:nvPr/>
        </p:nvSpPr>
        <p:spPr>
          <a:xfrm>
            <a:off x="3450264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877800-743F-4611-972B-3D7896F1A240}" type="datetimeFigureOut">
              <a:rPr lang="sr-Latn-RS" smtClean="0"/>
              <a:t>26.9.2018.</a:t>
            </a:fld>
            <a:endParaRPr lang="sr-Latn-R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AE8349-EB2E-4255-A82B-E6D018CCA536}" type="slidenum">
              <a:rPr lang="sr-Latn-RS" smtClean="0"/>
              <a:t>‹#›</a:t>
            </a:fld>
            <a:endParaRPr lang="sr-Latn-R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kumimoji="0" lang="en-US"/>
              <a:t>Click to edit Master title sty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  <a:extLst/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877800-743F-4611-972B-3D7896F1A240}" type="datetimeFigureOut">
              <a:rPr lang="sr-Latn-RS" smtClean="0"/>
              <a:t>26.9.2018.</a:t>
            </a:fld>
            <a:endParaRPr lang="sr-Latn-R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AE8349-EB2E-4255-A82B-E6D018CCA536}" type="slidenum">
              <a:rPr lang="sr-Latn-RS" smtClean="0"/>
              <a:t>‹#›</a:t>
            </a:fld>
            <a:endParaRPr lang="sr-Latn-R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877800-743F-4611-972B-3D7896F1A240}" type="datetimeFigureOut">
              <a:rPr lang="sr-Latn-RS" smtClean="0"/>
              <a:t>26.9.2018.</a:t>
            </a:fld>
            <a:endParaRPr lang="sr-Latn-R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AE8349-EB2E-4255-A82B-E6D018CCA536}" type="slidenum">
              <a:rPr lang="sr-Latn-RS" smtClean="0"/>
              <a:t>‹#›</a:t>
            </a:fld>
            <a:endParaRPr lang="sr-Latn-R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kumimoji="0" lang="en-US"/>
              <a:t>Click to edit Master title sty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877800-743F-4611-972B-3D7896F1A240}" type="datetimeFigureOut">
              <a:rPr lang="sr-Latn-RS" smtClean="0"/>
              <a:t>26.9.2018.</a:t>
            </a:fld>
            <a:endParaRPr lang="sr-Latn-R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AE8349-EB2E-4255-A82B-E6D018CCA536}" type="slidenum">
              <a:rPr lang="sr-Latn-RS" smtClean="0"/>
              <a:t>‹#›</a:t>
            </a:fld>
            <a:endParaRPr lang="sr-Latn-R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vert="horz"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727032" y="6407944"/>
            <a:ext cx="1920240" cy="365760"/>
          </a:xfrm>
        </p:spPr>
        <p:txBody>
          <a:bodyPr/>
          <a:lstStyle/>
          <a:p>
            <a:fld id="{18877800-743F-4611-972B-3D7896F1A240}" type="datetimeFigureOut">
              <a:rPr lang="sr-Latn-RS" smtClean="0"/>
              <a:t>26.9.2018.</a:t>
            </a:fld>
            <a:endParaRPr lang="sr-Latn-R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AE8349-EB2E-4255-A82B-E6D018CCA536}" type="slidenum">
              <a:rPr lang="sr-Latn-RS" smtClean="0"/>
              <a:t>‹#›</a:t>
            </a:fld>
            <a:endParaRPr lang="sr-Latn-R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lIns="91440" tIns="0" rIns="91440" anchor="t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en-US"/>
              <a:t>Click icon to add picture</a:t>
            </a:r>
            <a:endParaRPr kumimoji="0"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18877800-743F-4611-972B-3D7896F1A240}" type="datetimeFigureOut">
              <a:rPr lang="sr-Latn-RS" smtClean="0"/>
              <a:t>26.9.2018.</a:t>
            </a:fld>
            <a:endParaRPr lang="sr-Latn-R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80072" y="6407944"/>
            <a:ext cx="235068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endParaRPr lang="sr-Latn-R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01AE8349-EB2E-4255-A82B-E6D018CCA536}" type="slidenum">
              <a:rPr lang="sr-Latn-RS" smtClean="0"/>
              <a:t>‹#›</a:t>
            </a:fld>
            <a:endParaRPr lang="sr-Latn-R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0" name="Right Triangle 9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2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/>
          <a:p>
            <a:pPr algn="ctr" eaLnBrk="1" latinLnBrk="0" hangingPunct="1"/>
            <a:endParaRPr kumimoji="0" lang="en-US"/>
          </a:p>
        </p:txBody>
      </p:sp>
      <p:cxnSp>
        <p:nvCxnSpPr>
          <p:cNvPr id="11" name="Straight Connector 10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hevron 11"/>
          <p:cNvSpPr/>
          <p:nvPr/>
        </p:nvSpPr>
        <p:spPr>
          <a:xfrm>
            <a:off x="8664112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eaLnBrk="1" latinLnBrk="0" hangingPunct="1"/>
            <a:endParaRPr kumimoji="0" lang="en-US"/>
          </a:p>
        </p:txBody>
      </p:sp>
      <p:sp>
        <p:nvSpPr>
          <p:cNvPr id="13" name="Chevron 12"/>
          <p:cNvSpPr/>
          <p:nvPr/>
        </p:nvSpPr>
        <p:spPr>
          <a:xfrm>
            <a:off x="8477696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4" name="Right Triangle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3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/>
          <a:p>
            <a:pPr algn="ctr" eaLnBrk="1" latinLnBrk="0" hangingPunct="1"/>
            <a:endParaRPr kumimoji="0"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idx="1"/>
          </p:nvPr>
        </p:nvSpPr>
        <p:spPr>
          <a:xfrm>
            <a:off x="457200" y="1481328"/>
            <a:ext cx="8229600" cy="4525963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/>
              <a:t>Click to edit Master text styles</a:t>
            </a:r>
          </a:p>
          <a:p>
            <a:pPr lvl="1" eaLnBrk="1" latinLnBrk="0" hangingPunct="1"/>
            <a:r>
              <a:rPr kumimoji="0" lang="en-US"/>
              <a:t>Second level</a:t>
            </a:r>
          </a:p>
          <a:p>
            <a:pPr lvl="2" eaLnBrk="1" latinLnBrk="0" hangingPunct="1"/>
            <a:r>
              <a:rPr kumimoji="0" lang="en-US"/>
              <a:t>Third level</a:t>
            </a:r>
          </a:p>
          <a:p>
            <a:pPr lvl="3" eaLnBrk="1" latinLnBrk="0" hangingPunct="1"/>
            <a:r>
              <a:rPr kumimoji="0" lang="en-US"/>
              <a:t>Fourth level</a:t>
            </a:r>
          </a:p>
          <a:p>
            <a:pPr lvl="4" eaLnBrk="1" latinLnBrk="0" hangingPunct="1"/>
            <a:r>
              <a:rPr kumimoji="0" lang="en-US"/>
              <a:t>Fifth level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6727032" y="6407944"/>
            <a:ext cx="1920240" cy="365760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fld id="{18877800-743F-4611-972B-3D7896F1A240}" type="datetimeFigureOut">
              <a:rPr lang="sr-Latn-RS" smtClean="0"/>
              <a:t>26.9.2018.</a:t>
            </a:fld>
            <a:endParaRPr lang="sr-Latn-R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4380072" y="6407944"/>
            <a:ext cx="2350681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endParaRPr lang="sr-Latn-RS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647272" y="6407944"/>
            <a:ext cx="36576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</a:defRPr>
            </a:lvl1pPr>
            <a:extLst/>
          </a:lstStyle>
          <a:p>
            <a:fld id="{01AE8349-EB2E-4255-A82B-E6D018CCA536}" type="slidenum">
              <a:rPr lang="sr-Latn-RS" smtClean="0"/>
              <a:t>‹#›</a:t>
            </a:fld>
            <a:endParaRPr lang="sr-Latn-R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rtl="0" eaLnBrk="1" latinLnBrk="0" hangingPunct="1">
        <a:spcBef>
          <a:spcPct val="0"/>
        </a:spcBef>
        <a:buNone/>
        <a:defRPr kumimoji="0"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56032" algn="l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SzPct val="68000"/>
        <a:buFont typeface="Wingdings 3"/>
        <a:buChar char="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1792" indent="-228600" algn="l" rtl="0" eaLnBrk="1" latinLnBrk="0" hangingPunct="1">
        <a:spcBef>
          <a:spcPts val="324"/>
        </a:spcBef>
        <a:buClr>
          <a:schemeClr val="accent1"/>
        </a:buClr>
        <a:buFont typeface="Verdana"/>
        <a:buChar char="◦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28600" algn="l" rtl="0" eaLnBrk="1" latinLnBrk="0" hangingPunct="1">
        <a:spcBef>
          <a:spcPts val="350"/>
        </a:spcBef>
        <a:buClr>
          <a:schemeClr val="accent2"/>
        </a:buClr>
        <a:buSzPct val="100000"/>
        <a:buFont typeface="Wingdings 2"/>
        <a:buChar char="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772400" cy="1829761"/>
          </a:xfrm>
        </p:spPr>
        <p:txBody>
          <a:bodyPr/>
          <a:lstStyle/>
          <a:p>
            <a:r>
              <a:rPr lang="sr-Latn-RS" dirty="0"/>
              <a:t>TwitterSplitt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76600" y="3505200"/>
            <a:ext cx="5562600" cy="1199704"/>
          </a:xfrm>
        </p:spPr>
        <p:txBody>
          <a:bodyPr>
            <a:normAutofit/>
          </a:bodyPr>
          <a:lstStyle/>
          <a:p>
            <a:r>
              <a:rPr lang="sr-Latn-RS" dirty="0"/>
              <a:t>Marko Radosavljević 1013</a:t>
            </a:r>
            <a:r>
              <a:rPr lang="en-US" dirty="0"/>
              <a:t>/2017</a:t>
            </a:r>
            <a:r>
              <a:rPr lang="sr-Latn-RS" dirty="0"/>
              <a:t> </a:t>
            </a:r>
          </a:p>
          <a:p>
            <a:r>
              <a:rPr lang="sr-Latn-RS" dirty="0"/>
              <a:t>Katarina Svorcan</a:t>
            </a:r>
            <a:r>
              <a:rPr lang="en-US" dirty="0"/>
              <a:t> 1009/2017</a:t>
            </a:r>
            <a:endParaRPr lang="sr-Latn-RS" dirty="0"/>
          </a:p>
        </p:txBody>
      </p:sp>
    </p:spTree>
    <p:extLst>
      <p:ext uri="{BB962C8B-B14F-4D97-AF65-F5344CB8AC3E}">
        <p14:creationId xmlns:p14="http://schemas.microsoft.com/office/powerpoint/2010/main" val="25867376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r-Latn-RS" dirty="0"/>
              <a:t>Koristimo Word2Vec embeddinge kao ulaz mreže</a:t>
            </a:r>
          </a:p>
          <a:p>
            <a:r>
              <a:rPr lang="sr-Latn-RS" dirty="0"/>
              <a:t>Dobijena tačnost 0.77</a:t>
            </a:r>
          </a:p>
          <a:p>
            <a:r>
              <a:rPr lang="sr-Latn-RS" dirty="0"/>
              <a:t>Arhitektura rekurentne neuronske mreže:</a:t>
            </a:r>
          </a:p>
          <a:p>
            <a:pPr marL="109728" indent="0">
              <a:buNone/>
            </a:pPr>
            <a:endParaRPr lang="sr-Latn-RS" dirty="0"/>
          </a:p>
          <a:p>
            <a:endParaRPr lang="sr-Latn-RS" dirty="0"/>
          </a:p>
          <a:p>
            <a:endParaRPr lang="sr-Latn-R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r-Latn-RS" sz="3600" dirty="0"/>
              <a:t>Rekurentna neuronska mreža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600" y="3427719"/>
            <a:ext cx="5953956" cy="2495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4576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109728" indent="0">
              <a:buNone/>
            </a:pPr>
            <a:endParaRPr lang="sr-Latn-RS" dirty="0"/>
          </a:p>
          <a:p>
            <a:r>
              <a:rPr lang="sr-Latn-RS" dirty="0"/>
              <a:t>Poboljšati kvalitet podataka:</a:t>
            </a:r>
          </a:p>
          <a:p>
            <a:pPr lvl="1"/>
            <a:r>
              <a:rPr lang="sr-Latn-RS" dirty="0"/>
              <a:t>Word2Vec treniran na većem korpusu koji bi bio objektivniji</a:t>
            </a:r>
          </a:p>
          <a:p>
            <a:pPr lvl="1"/>
            <a:r>
              <a:rPr lang="sr-Latn-RS" dirty="0"/>
              <a:t>Više labelisanih tvitova</a:t>
            </a:r>
          </a:p>
          <a:p>
            <a:pPr marL="109728" indent="0">
              <a:buNone/>
            </a:pPr>
            <a:endParaRPr lang="sr-Latn-RS" dirty="0"/>
          </a:p>
          <a:p>
            <a:r>
              <a:rPr lang="sr-Latn-RS" dirty="0"/>
              <a:t>Iskoristiti informacije iz tvita osim sirovog teksta</a:t>
            </a:r>
          </a:p>
          <a:p>
            <a:endParaRPr lang="sr-Latn-RS" dirty="0"/>
          </a:p>
          <a:p>
            <a:r>
              <a:rPr lang="sr-Latn-RS" dirty="0"/>
              <a:t>Aplikacija koja bi izbacivala tvitove istomišljenika (tvitove iz pripadajuće klase)</a:t>
            </a:r>
          </a:p>
          <a:p>
            <a:endParaRPr lang="sr-Latn-R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r-Latn-RS" sz="3600" dirty="0"/>
              <a:t>Sledeći koraci</a:t>
            </a:r>
          </a:p>
        </p:txBody>
      </p:sp>
    </p:spTree>
    <p:extLst>
      <p:ext uri="{BB962C8B-B14F-4D97-AF65-F5344CB8AC3E}">
        <p14:creationId xmlns:p14="http://schemas.microsoft.com/office/powerpoint/2010/main" val="23740849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0" y="2590800"/>
            <a:ext cx="8229600" cy="1143000"/>
          </a:xfrm>
        </p:spPr>
        <p:txBody>
          <a:bodyPr>
            <a:normAutofit/>
          </a:bodyPr>
          <a:lstStyle/>
          <a:p>
            <a:pPr algn="ctr"/>
            <a:r>
              <a:rPr lang="sr-Latn-RS" dirty="0"/>
              <a:t>HVALA</a:t>
            </a:r>
            <a:r>
              <a:rPr lang="en-US" dirty="0"/>
              <a:t>! </a:t>
            </a:r>
            <a:r>
              <a:rPr lang="en-US" dirty="0">
                <a:sym typeface="Wingdings" panose="05000000000000000000" pitchFamily="2" charset="2"/>
              </a:rPr>
              <a:t></a:t>
            </a:r>
            <a:endParaRPr lang="sr-Latn-RS" dirty="0"/>
          </a:p>
        </p:txBody>
      </p:sp>
    </p:spTree>
    <p:extLst>
      <p:ext uri="{BB962C8B-B14F-4D97-AF65-F5344CB8AC3E}">
        <p14:creationId xmlns:p14="http://schemas.microsoft.com/office/powerpoint/2010/main" val="10415692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r-Latn-RS" dirty="0"/>
              <a:t>Cilj projekta je klasifikacija politički tematizovanih tvitova na za i protiv vlasti.</a:t>
            </a:r>
          </a:p>
          <a:p>
            <a:endParaRPr lang="sr-Latn-RS" dirty="0"/>
          </a:p>
          <a:p>
            <a:r>
              <a:rPr lang="sr-Latn-RS" dirty="0"/>
              <a:t>Tvitovi su podeljeni u dve kategorije:</a:t>
            </a:r>
          </a:p>
          <a:p>
            <a:pPr lvl="1"/>
            <a:r>
              <a:rPr lang="sr-Latn-RS" dirty="0"/>
              <a:t>1- za vlast</a:t>
            </a:r>
            <a:r>
              <a:rPr lang="en-US" dirty="0"/>
              <a:t>/</a:t>
            </a:r>
            <a:r>
              <a:rPr lang="en-US" dirty="0" err="1"/>
              <a:t>protiv</a:t>
            </a:r>
            <a:r>
              <a:rPr lang="en-US" dirty="0"/>
              <a:t> </a:t>
            </a:r>
            <a:r>
              <a:rPr lang="en-US" dirty="0" err="1"/>
              <a:t>opozicije</a:t>
            </a:r>
            <a:endParaRPr lang="sr-Latn-RS" dirty="0"/>
          </a:p>
          <a:p>
            <a:pPr lvl="1"/>
            <a:r>
              <a:rPr lang="en-US" dirty="0"/>
              <a:t>0 – </a:t>
            </a:r>
            <a:r>
              <a:rPr lang="en-US" dirty="0" err="1"/>
              <a:t>protiv</a:t>
            </a:r>
            <a:r>
              <a:rPr lang="en-US" dirty="0"/>
              <a:t> </a:t>
            </a:r>
            <a:r>
              <a:rPr lang="en-US" dirty="0" err="1"/>
              <a:t>vlasti</a:t>
            </a:r>
            <a:r>
              <a:rPr lang="en-US" dirty="0"/>
              <a:t>/</a:t>
            </a:r>
            <a:r>
              <a:rPr lang="en-US" dirty="0" err="1"/>
              <a:t>za</a:t>
            </a:r>
            <a:r>
              <a:rPr lang="en-US" dirty="0"/>
              <a:t> </a:t>
            </a:r>
            <a:r>
              <a:rPr lang="en-US" dirty="0" err="1"/>
              <a:t>opoziciju</a:t>
            </a:r>
            <a:endParaRPr lang="sr-Latn-RS" dirty="0"/>
          </a:p>
          <a:p>
            <a:pPr lvl="1"/>
            <a:endParaRPr lang="en-US" dirty="0"/>
          </a:p>
          <a:p>
            <a:r>
              <a:rPr lang="en-US" dirty="0" err="1"/>
              <a:t>Motivacija</a:t>
            </a:r>
            <a:r>
              <a:rPr lang="sr-Latn-RS" dirty="0"/>
              <a:t>:</a:t>
            </a:r>
            <a:r>
              <a:rPr lang="en-US" dirty="0"/>
              <a:t> </a:t>
            </a:r>
            <a:r>
              <a:rPr lang="en-US" dirty="0" err="1"/>
              <a:t>pokazati</a:t>
            </a:r>
            <a:r>
              <a:rPr lang="en-US" dirty="0"/>
              <a:t> </a:t>
            </a:r>
            <a:r>
              <a:rPr lang="en-US" dirty="0" err="1"/>
              <a:t>uniformnost</a:t>
            </a:r>
            <a:r>
              <a:rPr lang="en-US" dirty="0"/>
              <a:t> </a:t>
            </a:r>
            <a:r>
              <a:rPr lang="en-US" dirty="0" err="1"/>
              <a:t>tvitova</a:t>
            </a:r>
            <a:r>
              <a:rPr lang="en-US" dirty="0"/>
              <a:t> </a:t>
            </a:r>
            <a:r>
              <a:rPr lang="sr-Latn-RS" dirty="0"/>
              <a:t>političke scene bez obzira na opredeljenost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sr-Latn-RS" dirty="0"/>
              <a:t>lako </a:t>
            </a:r>
            <a:r>
              <a:rPr lang="en-US" dirty="0" err="1"/>
              <a:t>razlik</a:t>
            </a:r>
            <a:r>
              <a:rPr lang="sr-Latn-RS" dirty="0"/>
              <a:t>ovanje</a:t>
            </a:r>
            <a:r>
              <a:rPr lang="en-US" dirty="0"/>
              <a:t> </a:t>
            </a:r>
            <a:r>
              <a:rPr lang="en-US" dirty="0" err="1"/>
              <a:t>na</a:t>
            </a:r>
            <a:r>
              <a:rPr lang="en-US" dirty="0"/>
              <a:t> </a:t>
            </a:r>
            <a:r>
              <a:rPr lang="en-US" dirty="0" err="1"/>
              <a:t>osnovu</a:t>
            </a:r>
            <a:r>
              <a:rPr lang="en-US" dirty="0"/>
              <a:t> </a:t>
            </a:r>
            <a:r>
              <a:rPr lang="en-US" dirty="0" err="1"/>
              <a:t>sintaks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</p:spPr>
        <p:txBody>
          <a:bodyPr>
            <a:normAutofit/>
          </a:bodyPr>
          <a:lstStyle/>
          <a:p>
            <a:r>
              <a:rPr lang="sr-Latn-RS" sz="3600" dirty="0"/>
              <a:t>Ideja projekta</a:t>
            </a:r>
          </a:p>
        </p:txBody>
      </p:sp>
    </p:spTree>
    <p:extLst>
      <p:ext uri="{BB962C8B-B14F-4D97-AF65-F5344CB8AC3E}">
        <p14:creationId xmlns:p14="http://schemas.microsoft.com/office/powerpoint/2010/main" val="22998237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sr-Latn-RS" dirty="0"/>
              <a:t>Live streaming </a:t>
            </a:r>
            <a:r>
              <a:rPr lang="en-US" dirty="0" err="1"/>
              <a:t>putem</a:t>
            </a:r>
            <a:r>
              <a:rPr lang="en-US" dirty="0"/>
              <a:t> </a:t>
            </a:r>
            <a:r>
              <a:rPr lang="sr-Latn-RS" b="1" dirty="0"/>
              <a:t>Twitter API-</a:t>
            </a:r>
            <a:r>
              <a:rPr lang="en-US" dirty="0"/>
              <a:t>ja </a:t>
            </a:r>
            <a:r>
              <a:rPr lang="en-US" dirty="0" err="1"/>
              <a:t>koriste</a:t>
            </a:r>
            <a:r>
              <a:rPr lang="sr-Latn-RS" dirty="0"/>
              <a:t>ći ključne reči po izboru (u zavisnosti od aktuelnosti)</a:t>
            </a:r>
          </a:p>
          <a:p>
            <a:r>
              <a:rPr lang="sr-Latn-RS" dirty="0"/>
              <a:t>Podaci u obliku dictionary:</a:t>
            </a:r>
          </a:p>
          <a:p>
            <a:endParaRPr lang="sr-Latn-RS" dirty="0"/>
          </a:p>
          <a:p>
            <a:endParaRPr lang="sr-Latn-RS" dirty="0"/>
          </a:p>
          <a:p>
            <a:endParaRPr lang="sr-Latn-RS" dirty="0"/>
          </a:p>
          <a:p>
            <a:endParaRPr lang="sr-Latn-RS" dirty="0"/>
          </a:p>
          <a:p>
            <a:endParaRPr lang="sr-Latn-RS" dirty="0"/>
          </a:p>
          <a:p>
            <a:pPr marL="109728" indent="0">
              <a:buNone/>
            </a:pPr>
            <a:endParaRPr lang="sr-Latn-RS" dirty="0"/>
          </a:p>
          <a:p>
            <a:r>
              <a:rPr lang="sr-Latn-RS" dirty="0"/>
              <a:t>Koristimo samo sirov text</a:t>
            </a:r>
            <a:r>
              <a:rPr lang="en-US" dirty="0"/>
              <a:t> u </a:t>
            </a:r>
            <a:r>
              <a:rPr lang="en-US" dirty="0" err="1"/>
              <a:t>predikciji</a:t>
            </a:r>
            <a:endParaRPr lang="sr-Latn-RS" dirty="0"/>
          </a:p>
          <a:p>
            <a:r>
              <a:rPr lang="sr-Latn-RS" dirty="0"/>
              <a:t>Izazov: Pristrasno formiranje skupa podataka</a:t>
            </a:r>
          </a:p>
          <a:p>
            <a:pPr marL="0" indent="0">
              <a:buNone/>
            </a:pPr>
            <a:endParaRPr lang="sr-Latn-R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</p:spPr>
        <p:txBody>
          <a:bodyPr>
            <a:normAutofit/>
          </a:bodyPr>
          <a:lstStyle/>
          <a:p>
            <a:r>
              <a:rPr lang="sr-Latn-RS" sz="3600" dirty="0"/>
              <a:t>Prikupljanje podataka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2819400"/>
            <a:ext cx="7162800" cy="205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6854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r-Latn-RS" dirty="0"/>
              <a:t>Labelisanje ručno </a:t>
            </a:r>
            <a:r>
              <a:rPr lang="sr-Latn-RS" dirty="0">
                <a:sym typeface="Wingdings" panose="05000000000000000000" pitchFamily="2" charset="2"/>
              </a:rPr>
              <a:t></a:t>
            </a:r>
            <a:r>
              <a:rPr lang="sr-Latn-RS" dirty="0"/>
              <a:t> </a:t>
            </a:r>
          </a:p>
          <a:p>
            <a:r>
              <a:rPr lang="sr-Latn-RS" dirty="0"/>
              <a:t>Od 10000 tvitova, 3500 u proseku jedinstveno</a:t>
            </a:r>
          </a:p>
          <a:p>
            <a:r>
              <a:rPr lang="sr-Latn-RS" dirty="0"/>
              <a:t>10% upotrebljivo sa adekvatnom semantikom</a:t>
            </a:r>
          </a:p>
          <a:p>
            <a:r>
              <a:rPr lang="sr-Latn-RS" dirty="0"/>
              <a:t>Sa kasnijim boljim izborom reči, procenat je veći, ali i posla ima više</a:t>
            </a:r>
          </a:p>
          <a:p>
            <a:endParaRPr lang="sr-Latn-RS" dirty="0"/>
          </a:p>
          <a:p>
            <a:r>
              <a:rPr lang="sr-Latn-RS" dirty="0"/>
              <a:t>Poseban pristup bilo bi nenadgledano</a:t>
            </a:r>
            <a:r>
              <a:rPr lang="en-US" dirty="0"/>
              <a:t> (</a:t>
            </a:r>
            <a:r>
              <a:rPr lang="en-US" dirty="0" err="1"/>
              <a:t>polunadgledano</a:t>
            </a:r>
            <a:r>
              <a:rPr lang="en-US" dirty="0"/>
              <a:t>)</a:t>
            </a:r>
            <a:r>
              <a:rPr lang="sr-Latn-RS" dirty="0"/>
              <a:t> mašinsko učenj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</p:spPr>
        <p:txBody>
          <a:bodyPr>
            <a:normAutofit/>
          </a:bodyPr>
          <a:lstStyle/>
          <a:p>
            <a:r>
              <a:rPr lang="sr-Latn-RS" sz="3600" dirty="0"/>
              <a:t>Labelisanje podataka</a:t>
            </a:r>
          </a:p>
        </p:txBody>
      </p:sp>
    </p:spTree>
    <p:extLst>
      <p:ext uri="{BB962C8B-B14F-4D97-AF65-F5344CB8AC3E}">
        <p14:creationId xmlns:p14="http://schemas.microsoft.com/office/powerpoint/2010/main" val="27991387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r-Latn-RS" dirty="0"/>
              <a:t>Eliminacija stranih tvitova pomoću uočenih slova koja ne pripadaju srpskom pismu</a:t>
            </a:r>
          </a:p>
          <a:p>
            <a:r>
              <a:rPr lang="sr-Latn-RS" dirty="0"/>
              <a:t>Eliminacija linkova, RT oznaka, user name-ova i hashtag-ova</a:t>
            </a:r>
          </a:p>
          <a:p>
            <a:r>
              <a:rPr lang="sr-Latn-RS" dirty="0"/>
              <a:t>Razdvajanje reči od interpunkcijskih znakova</a:t>
            </a:r>
          </a:p>
          <a:p>
            <a:r>
              <a:rPr lang="sr-Latn-RS" dirty="0"/>
              <a:t>Ćirilica -&gt; Latinica</a:t>
            </a:r>
          </a:p>
          <a:p>
            <a:r>
              <a:rPr lang="sr-Latn-RS" dirty="0"/>
              <a:t>Sve lower case</a:t>
            </a:r>
          </a:p>
          <a:p>
            <a:endParaRPr lang="sr-Latn-R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</p:spPr>
        <p:txBody>
          <a:bodyPr>
            <a:normAutofit/>
          </a:bodyPr>
          <a:lstStyle/>
          <a:p>
            <a:r>
              <a:rPr lang="sr-Latn-RS" sz="3600" dirty="0"/>
              <a:t>Pripremanje podataka</a:t>
            </a:r>
          </a:p>
        </p:txBody>
      </p:sp>
    </p:spTree>
    <p:extLst>
      <p:ext uri="{BB962C8B-B14F-4D97-AF65-F5344CB8AC3E}">
        <p14:creationId xmlns:p14="http://schemas.microsoft.com/office/powerpoint/2010/main" val="8244705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r-Latn-RS" dirty="0"/>
              <a:t>Korpus od 124022 tvitova</a:t>
            </a:r>
          </a:p>
          <a:p>
            <a:endParaRPr lang="sr-Latn-RS" dirty="0"/>
          </a:p>
          <a:p>
            <a:r>
              <a:rPr lang="sr-Latn-RS" dirty="0"/>
              <a:t>Dva pristupa: </a:t>
            </a:r>
            <a:r>
              <a:rPr lang="sr-Latn-RS" b="1" dirty="0"/>
              <a:t>CBOW</a:t>
            </a:r>
            <a:r>
              <a:rPr lang="sr-Latn-RS" dirty="0"/>
              <a:t> i </a:t>
            </a:r>
            <a:r>
              <a:rPr lang="sr-Latn-RS" b="1" dirty="0"/>
              <a:t>skipgram</a:t>
            </a:r>
          </a:p>
          <a:p>
            <a:endParaRPr lang="sr-Latn-RS" b="1" dirty="0"/>
          </a:p>
          <a:p>
            <a:r>
              <a:rPr lang="sr-Latn-RS" dirty="0"/>
              <a:t>Continuous bag of words </a:t>
            </a:r>
            <a:r>
              <a:rPr lang="vi-VN" dirty="0"/>
              <a:t>model predviđa trenutnu reč na osnovu okolnih reči</a:t>
            </a:r>
            <a:endParaRPr lang="sr-Latn-RS" dirty="0"/>
          </a:p>
          <a:p>
            <a:r>
              <a:rPr lang="sr-Latn-RS" dirty="0"/>
              <a:t>Skipgram model predviđa okolne reči na osnovu trenutne</a:t>
            </a:r>
          </a:p>
          <a:p>
            <a:pPr marL="109728" indent="0">
              <a:buNone/>
            </a:pPr>
            <a:endParaRPr lang="sr-Latn-RS" dirty="0"/>
          </a:p>
          <a:p>
            <a:endParaRPr lang="sr-Latn-RS" dirty="0"/>
          </a:p>
          <a:p>
            <a:endParaRPr lang="sr-Latn-R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r-Latn-RS" sz="3600" dirty="0"/>
              <a:t>Word2Vec</a:t>
            </a:r>
          </a:p>
        </p:txBody>
      </p:sp>
    </p:spTree>
    <p:extLst>
      <p:ext uri="{BB962C8B-B14F-4D97-AF65-F5344CB8AC3E}">
        <p14:creationId xmlns:p14="http://schemas.microsoft.com/office/powerpoint/2010/main" val="36339207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371" y="76200"/>
            <a:ext cx="8229600" cy="1143000"/>
          </a:xfrm>
        </p:spPr>
        <p:txBody>
          <a:bodyPr>
            <a:normAutofit/>
          </a:bodyPr>
          <a:lstStyle/>
          <a:p>
            <a:r>
              <a:rPr lang="sr-Latn-RS" sz="3600" dirty="0"/>
              <a:t>Semantička analiza</a:t>
            </a:r>
          </a:p>
        </p:txBody>
      </p:sp>
      <p:sp>
        <p:nvSpPr>
          <p:cNvPr id="5" name="Content Placeholder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066800" y="1447800"/>
            <a:ext cx="7112000" cy="5400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90000" tIns="54000" rIns="90000" bIns="54000" anchor="ctr"/>
          <a:lstStyle/>
          <a:p>
            <a:pPr marL="0" lvl="1" indent="1588" algn="ctr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85000"/>
            </a:pPr>
            <a:r>
              <a:rPr lang="sr-Latn-RS" sz="1600" b="1" kern="0" dirty="0">
                <a:solidFill>
                  <a:schemeClr val="bg1"/>
                </a:solidFill>
                <a:latin typeface="Verdana" pitchFamily="34" charset="0"/>
              </a:rPr>
              <a:t>Najsličnije reči</a:t>
            </a:r>
            <a:endParaRPr lang="en-GB" sz="1600" b="1" kern="0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12" name="Content Placeholder 20"/>
          <p:cNvSpPr>
            <a:spLocks noGrp="1"/>
          </p:cNvSpPr>
          <p:nvPr>
            <p:ph idx="4294967295"/>
            <p:custDataLst>
              <p:tags r:id="rId2"/>
            </p:custDataLst>
          </p:nvPr>
        </p:nvSpPr>
        <p:spPr>
          <a:xfrm>
            <a:off x="1066800" y="1987800"/>
            <a:ext cx="7112000" cy="3644475"/>
          </a:xfrm>
          <a:solidFill>
            <a:schemeClr val="bg1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09728" indent="0">
              <a:buNone/>
            </a:pPr>
            <a:r>
              <a:rPr lang="sr-Latn-RS" dirty="0">
                <a:solidFill>
                  <a:schemeClr val="tx1"/>
                </a:solidFill>
              </a:rPr>
              <a:t>       Djilas                         Vucic</a:t>
            </a:r>
          </a:p>
          <a:p>
            <a:endParaRPr lang="sr-Latn-RS" dirty="0">
              <a:solidFill>
                <a:schemeClr val="tx1"/>
              </a:solidFill>
            </a:endParaRPr>
          </a:p>
          <a:p>
            <a:endParaRPr lang="sr-Latn-RS" dirty="0">
              <a:solidFill>
                <a:schemeClr val="tx1"/>
              </a:solidFill>
            </a:endParaRPr>
          </a:p>
          <a:p>
            <a:endParaRPr lang="sr-Latn-RS" dirty="0">
              <a:solidFill>
                <a:schemeClr val="tx1"/>
              </a:solidFill>
            </a:endParaRPr>
          </a:p>
          <a:p>
            <a:endParaRPr lang="sr-Latn-RS" dirty="0">
              <a:solidFill>
                <a:schemeClr val="tx1"/>
              </a:solidFill>
            </a:endParaRPr>
          </a:p>
          <a:p>
            <a:endParaRPr lang="sr-Latn-RS" dirty="0">
              <a:solidFill>
                <a:schemeClr val="tx1"/>
              </a:solidFill>
            </a:endParaRPr>
          </a:p>
          <a:p>
            <a:pPr marL="109728" indent="0">
              <a:buNone/>
            </a:pPr>
            <a:endParaRPr lang="sr-Latn-RS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2800" y="2584833"/>
            <a:ext cx="3200847" cy="177189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2584833"/>
            <a:ext cx="3200400" cy="177165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20351904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371" y="76200"/>
            <a:ext cx="8229600" cy="1143000"/>
          </a:xfrm>
        </p:spPr>
        <p:txBody>
          <a:bodyPr>
            <a:normAutofit/>
          </a:bodyPr>
          <a:lstStyle/>
          <a:p>
            <a:r>
              <a:rPr lang="sr-Latn-RS" sz="3600" dirty="0"/>
              <a:t>Semantička analiza</a:t>
            </a:r>
          </a:p>
        </p:txBody>
      </p:sp>
      <p:sp>
        <p:nvSpPr>
          <p:cNvPr id="5" name="Content Placeholder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066800" y="1447800"/>
            <a:ext cx="7112000" cy="5400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90000" tIns="54000" rIns="90000" bIns="54000" anchor="ctr"/>
          <a:lstStyle/>
          <a:p>
            <a:pPr marL="0" lvl="1" indent="1588" algn="ctr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85000"/>
            </a:pPr>
            <a:r>
              <a:rPr lang="sr-Latn-RS" sz="1600" b="1" kern="0" dirty="0">
                <a:solidFill>
                  <a:schemeClr val="bg1"/>
                </a:solidFill>
                <a:latin typeface="Verdana" pitchFamily="34" charset="0"/>
              </a:rPr>
              <a:t>Predikcija naredne reči</a:t>
            </a:r>
            <a:endParaRPr lang="en-GB" sz="1600" b="1" kern="0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12" name="Content Placeholder 20"/>
          <p:cNvSpPr>
            <a:spLocks noGrp="1"/>
          </p:cNvSpPr>
          <p:nvPr>
            <p:ph idx="4294967295"/>
            <p:custDataLst>
              <p:tags r:id="rId2"/>
            </p:custDataLst>
          </p:nvPr>
        </p:nvSpPr>
        <p:spPr>
          <a:xfrm>
            <a:off x="1066800" y="1987800"/>
            <a:ext cx="7112000" cy="3644475"/>
          </a:xfrm>
          <a:solidFill>
            <a:schemeClr val="bg1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r-Latn-RS" dirty="0">
              <a:solidFill>
                <a:schemeClr val="tx1"/>
              </a:solidFill>
            </a:endParaRPr>
          </a:p>
          <a:p>
            <a:endParaRPr lang="sr-Latn-RS" dirty="0">
              <a:solidFill>
                <a:schemeClr val="tx1"/>
              </a:solidFill>
            </a:endParaRPr>
          </a:p>
          <a:p>
            <a:endParaRPr lang="sr-Latn-RS" dirty="0">
              <a:solidFill>
                <a:schemeClr val="tx1"/>
              </a:solidFill>
            </a:endParaRPr>
          </a:p>
          <a:p>
            <a:endParaRPr lang="sr-Latn-RS" dirty="0">
              <a:solidFill>
                <a:schemeClr val="tx1"/>
              </a:solidFill>
            </a:endParaRPr>
          </a:p>
          <a:p>
            <a:endParaRPr lang="sr-Latn-RS" dirty="0">
              <a:solidFill>
                <a:schemeClr val="tx1"/>
              </a:solidFill>
            </a:endParaRPr>
          </a:p>
          <a:p>
            <a:pPr marL="109728" indent="0">
              <a:buNone/>
            </a:pPr>
            <a:endParaRPr lang="sr-Latn-RS" dirty="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2286000"/>
            <a:ext cx="5849167" cy="67636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4886" y="3124200"/>
            <a:ext cx="4581525" cy="211455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13296464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r-Latn-RS" dirty="0"/>
              <a:t>~2000 labelisanih tvitova</a:t>
            </a:r>
          </a:p>
          <a:p>
            <a:r>
              <a:rPr lang="sr-Latn-RS" dirty="0"/>
              <a:t>Dva pristupa sumiranja reči u tvitu:</a:t>
            </a:r>
          </a:p>
          <a:p>
            <a:pPr lvl="1"/>
            <a:r>
              <a:rPr lang="sr-Latn-RS" dirty="0"/>
              <a:t>Koristimo prosek reči u tvitu kao ulaz mreže</a:t>
            </a:r>
          </a:p>
          <a:p>
            <a:pPr lvl="1"/>
            <a:r>
              <a:rPr lang="sr-Latn-RS" dirty="0"/>
              <a:t>Koristimo max reči u tvitu kao ulaz mreže</a:t>
            </a:r>
          </a:p>
          <a:p>
            <a:r>
              <a:rPr lang="sr-Latn-RS" dirty="0"/>
              <a:t>Dobijena tačnost 0.7</a:t>
            </a:r>
          </a:p>
          <a:p>
            <a:r>
              <a:rPr lang="sr-Latn-RS" dirty="0"/>
              <a:t>Arhitektura neuronske mreže:</a:t>
            </a:r>
          </a:p>
          <a:p>
            <a:endParaRPr lang="sr-Latn-R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sr-Latn-RS" sz="3600" dirty="0"/>
              <a:t>Sumiranje reči i standardna neuronska mreža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600" y="4220902"/>
            <a:ext cx="5639587" cy="180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4538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WKrwJNe0iiS7nRs38I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0lxoqqrkyeWp1T94Dk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WKrwJNe0iiS7nRs38I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0lxoqqrkyeWp1T94Dk7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oncourse">
  <a:themeElements>
    <a:clrScheme name="Concours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Concourse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  <a:font script="Geor" typeface="Sylfaen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  <a:font script="Geor" typeface="Sylfaen"/>
      </a:minorFont>
    </a:fontScheme>
    <a:fmtScheme name="Concours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65000" b="98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oncourse</Template>
  <TotalTime>1396</TotalTime>
  <Words>316</Words>
  <Application>Microsoft Office PowerPoint</Application>
  <PresentationFormat>On-screen Show (4:3)</PresentationFormat>
  <Paragraphs>78</Paragraphs>
  <Slides>1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Lucida Sans Unicode</vt:lpstr>
      <vt:lpstr>Verdana</vt:lpstr>
      <vt:lpstr>Wingdings</vt:lpstr>
      <vt:lpstr>Wingdings 2</vt:lpstr>
      <vt:lpstr>Wingdings 3</vt:lpstr>
      <vt:lpstr>Concourse</vt:lpstr>
      <vt:lpstr>TwitterSplitter</vt:lpstr>
      <vt:lpstr>Ideja projekta</vt:lpstr>
      <vt:lpstr>Prikupljanje podataka</vt:lpstr>
      <vt:lpstr>Labelisanje podataka</vt:lpstr>
      <vt:lpstr>Pripremanje podataka</vt:lpstr>
      <vt:lpstr>Word2Vec</vt:lpstr>
      <vt:lpstr>Semantička analiza</vt:lpstr>
      <vt:lpstr>Semantička analiza</vt:lpstr>
      <vt:lpstr>Sumiranje reči i standardna neuronska mreža</vt:lpstr>
      <vt:lpstr>Rekurentna neuronska mreža</vt:lpstr>
      <vt:lpstr>Sledeći koraci</vt:lpstr>
      <vt:lpstr>HVALA! </vt:lpstr>
    </vt:vector>
  </TitlesOfParts>
  <Company>Teleno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witterSplitter</dc:title>
  <dc:creator>Katarina Svorcan</dc:creator>
  <cp:lastModifiedBy>Marko Radosavljevic</cp:lastModifiedBy>
  <cp:revision>18</cp:revision>
  <dcterms:created xsi:type="dcterms:W3CDTF">2018-09-20T17:28:17Z</dcterms:created>
  <dcterms:modified xsi:type="dcterms:W3CDTF">2018-09-26T08:34:45Z</dcterms:modified>
</cp:coreProperties>
</file>